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0" r:id="rId4"/>
  </p:sldMasterIdLst>
  <p:notesMasterIdLst>
    <p:notesMasterId r:id="rId11"/>
  </p:notesMasterIdLst>
  <p:sldIdLst>
    <p:sldId id="629" r:id="rId5"/>
    <p:sldId id="647" r:id="rId6"/>
    <p:sldId id="649" r:id="rId7"/>
    <p:sldId id="650" r:id="rId8"/>
    <p:sldId id="370" r:id="rId9"/>
    <p:sldId id="639" r:id="rId10"/>
  </p:sldIdLst>
  <p:sldSz cx="9906000" cy="6858000" type="A4"/>
  <p:notesSz cx="6797675" cy="9926638"/>
  <p:custDataLst>
    <p:tags r:id="rId13"/>
  </p:custDataLst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1pPr>
    <a:lvl2pPr marL="456435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2pPr>
    <a:lvl3pPr marL="912873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3pPr>
    <a:lvl4pPr marL="1369308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4pPr>
    <a:lvl5pPr marL="1825742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5pPr>
    <a:lvl6pPr marL="2282183" algn="l" defTabSz="912873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6pPr>
    <a:lvl7pPr marL="2738615" algn="l" defTabSz="912873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7pPr>
    <a:lvl8pPr marL="3195050" algn="l" defTabSz="912873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8pPr>
    <a:lvl9pPr marL="3651487" algn="l" defTabSz="912873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33"/>
    <a:srgbClr val="FFFFFF"/>
    <a:srgbClr val="000066"/>
    <a:srgbClr val="007033"/>
    <a:srgbClr val="000000"/>
    <a:srgbClr val="EE5B00"/>
    <a:srgbClr val="FCE1DC"/>
    <a:srgbClr val="FEF6F4"/>
    <a:srgbClr val="0A00D6"/>
    <a:srgbClr val="0800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51" autoAdjust="0"/>
    <p:restoredTop sz="84332" autoAdjust="0"/>
  </p:normalViewPr>
  <p:slideViewPr>
    <p:cSldViewPr snapToGrid="0">
      <p:cViewPr varScale="1">
        <p:scale>
          <a:sx n="95" d="100"/>
          <a:sy n="95" d="100"/>
        </p:scale>
        <p:origin x="-1152" y="-9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printerSettings" Target="printerSettings/printerSettings1.bin"/><Relationship Id="rId13" Type="http://schemas.openxmlformats.org/officeDocument/2006/relationships/tags" Target="tags/tag1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10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686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7596AE2-EF46-489D-915C-EBFE5CA3721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6306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1pPr>
    <a:lvl2pPr marL="45643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2pPr>
    <a:lvl3pPr marL="912873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3pPr>
    <a:lvl4pPr marL="1369308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4pPr>
    <a:lvl5pPr marL="1825742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5pPr>
    <a:lvl6pPr marL="2282183" algn="l" defTabSz="9128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615" algn="l" defTabSz="9128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050" algn="l" defTabSz="9128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487" algn="l" defTabSz="9128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3429000"/>
            <a:ext cx="9906000" cy="18288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4000"/>
                </a:schemeClr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2" rIns="91287" bIns="4564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3429000"/>
            <a:ext cx="148590" cy="1828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2" rIns="91287" bIns="4564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3581400"/>
            <a:ext cx="7924800" cy="9144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2606" y="4572000"/>
            <a:ext cx="7922794" cy="53340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1pPr>
            <a:lvl2pPr marL="45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792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817057" y="1247384"/>
            <a:ext cx="84201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17C9D-F56E-40E1-B31A-59331C193E68}" type="slidenum">
              <a:rPr lang="en-US" smtClean="0">
                <a:solidFill>
                  <a:srgbClr val="807F83"/>
                </a:solidFill>
              </a:rPr>
              <a:pPr/>
              <a:t>‹#›</a:t>
            </a:fld>
            <a:endParaRPr lang="en-US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131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742950" y="1752600"/>
            <a:ext cx="8420100" cy="4419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6B001-89C2-49A3-9F7F-109E758CA506}" type="datetime1">
              <a:rPr lang="en-US" smtClean="0">
                <a:solidFill>
                  <a:srgbClr val="807F83"/>
                </a:solidFill>
              </a:rPr>
              <a:pPr/>
              <a:t>3/11/16</a:t>
            </a:fld>
            <a:endParaRPr lang="en-US">
              <a:solidFill>
                <a:srgbClr val="807F8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17C9D-F56E-40E1-B31A-59331C193E68}" type="slidenum">
              <a:rPr lang="en-US" smtClean="0">
                <a:solidFill>
                  <a:srgbClr val="807F83"/>
                </a:solidFill>
              </a:rPr>
              <a:pPr/>
              <a:t>‹#›</a:t>
            </a:fld>
            <a:endParaRPr lang="en-US">
              <a:solidFill>
                <a:srgbClr val="807F83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42950" y="1143000"/>
            <a:ext cx="8420100" cy="30480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800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Aft>
                <a:spcPts val="0"/>
              </a:spcAft>
              <a:buNone/>
              <a:defRPr sz="1800"/>
            </a:lvl2pPr>
            <a:lvl3pPr marL="0" indent="0">
              <a:spcAft>
                <a:spcPts val="0"/>
              </a:spcAft>
              <a:buNone/>
              <a:defRPr sz="1800"/>
            </a:lvl3pPr>
            <a:lvl4pPr marL="0" indent="0">
              <a:spcAft>
                <a:spcPts val="0"/>
              </a:spcAft>
              <a:buNone/>
              <a:defRPr sz="1800"/>
            </a:lvl4pPr>
            <a:lvl5pPr marL="0" indent="0">
              <a:spcAft>
                <a:spcPts val="0"/>
              </a:spcAft>
              <a:buNone/>
              <a:defRPr sz="1800"/>
            </a:lvl5pPr>
            <a:lvl6pPr marL="0" indent="0">
              <a:spcAft>
                <a:spcPts val="0"/>
              </a:spcAft>
              <a:buNone/>
              <a:defRPr sz="1800"/>
            </a:lvl6pPr>
            <a:lvl7pPr marL="0" indent="0">
              <a:spcAft>
                <a:spcPts val="0"/>
              </a:spcAft>
              <a:buNone/>
              <a:defRPr sz="1800"/>
            </a:lvl7pPr>
            <a:lvl8pPr marL="0" indent="0">
              <a:spcAft>
                <a:spcPts val="0"/>
              </a:spcAft>
              <a:buNone/>
              <a:defRPr sz="1800"/>
            </a:lvl8pPr>
            <a:lvl9pPr marL="0" indent="0">
              <a:spcAft>
                <a:spcPts val="0"/>
              </a:spcAft>
              <a:buNone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7868" y="6138084"/>
            <a:ext cx="914400" cy="9144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none" lIns="45720" tIns="45720" rIns="45720" bIns="45720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2901323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729651" y="5786305"/>
            <a:ext cx="1106170" cy="182880"/>
          </a:xfrm>
        </p:spPr>
        <p:txBody>
          <a:bodyPr/>
          <a:lstStyle/>
          <a:p>
            <a:fld id="{1D487799-0E61-4DA2-9EA3-D580D3D87E78}" type="datetime1">
              <a:rPr lang="en-US" smtClean="0">
                <a:solidFill>
                  <a:srgbClr val="807F83"/>
                </a:solidFill>
              </a:rPr>
              <a:pPr/>
              <a:t>3/11/16</a:t>
            </a:fld>
            <a:endParaRPr lang="en-US">
              <a:solidFill>
                <a:srgbClr val="807F8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17C9D-F56E-40E1-B31A-59331C193E68}" type="slidenum">
              <a:rPr lang="en-US" smtClean="0">
                <a:solidFill>
                  <a:srgbClr val="807F83"/>
                </a:solidFill>
              </a:rPr>
              <a:pPr/>
              <a:t>‹#›</a:t>
            </a:fld>
            <a:endParaRPr lang="en-US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401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77053706"/>
              </p:ext>
            </p:extLst>
          </p:nvPr>
        </p:nvGraphicFramePr>
        <p:xfrm>
          <a:off x="1758" y="1645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8" y="1645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5840881"/>
            <a:ext cx="1407652" cy="1017177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757410" y="0"/>
            <a:ext cx="14859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2" rIns="91287" bIns="4564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066800"/>
            <a:ext cx="148590" cy="5791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2" rIns="91287" bIns="4564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148590" cy="1066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2" rIns="91287" bIns="45642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42950" y="228600"/>
            <a:ext cx="8420100" cy="838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42950" y="1447800"/>
            <a:ext cx="8420100" cy="47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8578" y="6532678"/>
            <a:ext cx="110617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9F8B29D0-8C63-4CEF-BDDF-9A371E3939B9}" type="datetime1">
              <a:rPr lang="en-US" smtClean="0">
                <a:solidFill>
                  <a:srgbClr val="807F83"/>
                </a:solidFill>
              </a:rPr>
              <a:pPr/>
              <a:t>3/11/16</a:t>
            </a:fld>
            <a:endParaRPr lang="en-US">
              <a:solidFill>
                <a:srgbClr val="807F8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150" y="6530196"/>
            <a:ext cx="3302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F3317C9D-F56E-40E1-B31A-59331C193E68}" type="slidenum">
              <a:rPr lang="en-US" smtClean="0">
                <a:solidFill>
                  <a:srgbClr val="807F83"/>
                </a:solidFill>
              </a:rPr>
              <a:pPr/>
              <a:t>‹#›</a:t>
            </a:fld>
            <a:endParaRPr lang="en-US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130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1" r:id="rId4"/>
  </p:sldLayoutIdLst>
  <p:txStyles>
    <p:titleStyle>
      <a:lvl1pPr algn="l" defTabSz="912873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220" indent="-228220" algn="l" defTabSz="912873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076" indent="-228220" algn="l" defTabSz="912873" rtl="0" eaLnBrk="1" latinLnBrk="0" hangingPunct="1">
        <a:lnSpc>
          <a:spcPct val="90000"/>
        </a:lnSpc>
        <a:spcBef>
          <a:spcPts val="8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0297" indent="-182574" algn="l" defTabSz="912873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58518" indent="-182574" algn="l" defTabSz="912873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6737" indent="-182574" algn="l" defTabSz="912873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952" indent="-182574" algn="l" defTabSz="912873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3170" indent="-182574" algn="l" defTabSz="912873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1388" indent="-182574" algn="l" defTabSz="912873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099604" indent="-182574" algn="l" defTabSz="912873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tx2">
            <a:lumMod val="50000"/>
          </a:schemeClr>
        </a:buClr>
        <a:buSzPct val="9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35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73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08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42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83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15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050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487" algn="l" defTabSz="9128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6" Type="http://schemas.openxmlformats.org/officeDocument/2006/relationships/image" Target="../media/image5.png"/><Relationship Id="rId7" Type="http://schemas.openxmlformats.org/officeDocument/2006/relationships/image" Target="../media/image6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hyperlink" Target="https://archive.ics.uci.edu/ml/datasets/Dataset+for+ADL+Recognition+with+Wrist-worn+Accelerometer" TargetMode="Externa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101377"/>
              </p:ext>
            </p:extLst>
          </p:nvPr>
        </p:nvGraphicFramePr>
        <p:xfrm>
          <a:off x="1632" y="163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2" y="163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7999" y="3708400"/>
            <a:ext cx="9061323" cy="914400"/>
          </a:xfrm>
        </p:spPr>
        <p:txBody>
          <a:bodyPr anchor="ctr"/>
          <a:lstStyle/>
          <a:p>
            <a:r>
              <a:rPr lang="en-US" dirty="0" smtClean="0"/>
              <a:t>Recognition and prediction of Activity of daily life’s (ADL)</a:t>
            </a:r>
            <a:endParaRPr lang="en-US" cap="all" dirty="0"/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46100" y="4731676"/>
            <a:ext cx="6096000" cy="914400"/>
          </a:xfrm>
        </p:spPr>
        <p:txBody>
          <a:bodyPr/>
          <a:lstStyle/>
          <a:p>
            <a:r>
              <a:rPr lang="en-US" dirty="0" smtClean="0"/>
              <a:t>Siddharth </a:t>
            </a:r>
            <a:r>
              <a:rPr lang="en-US" dirty="0" err="1" smtClean="0"/>
              <a:t>Chakravarty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DL- What is it?</a:t>
            </a:r>
          </a:p>
          <a:p>
            <a:r>
              <a:rPr lang="en-US" dirty="0" smtClean="0"/>
              <a:t>How is it monitored?</a:t>
            </a:r>
          </a:p>
          <a:p>
            <a:r>
              <a:rPr lang="en-US" dirty="0" smtClean="0"/>
              <a:t>Overview of sensor </a:t>
            </a:r>
            <a:r>
              <a:rPr lang="en-US" dirty="0" smtClean="0"/>
              <a:t>technology</a:t>
            </a:r>
            <a:endParaRPr lang="en-US" dirty="0" smtClean="0"/>
          </a:p>
          <a:p>
            <a:r>
              <a:rPr lang="en-US" dirty="0" smtClean="0"/>
              <a:t>Problem statement</a:t>
            </a:r>
          </a:p>
          <a:p>
            <a:r>
              <a:rPr lang="en-US" dirty="0" smtClean="0"/>
              <a:t>Approach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865163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4205" y="905564"/>
            <a:ext cx="6326958" cy="49806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L- Activity of Daily life’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01053" y="5988767"/>
            <a:ext cx="93578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latin typeface="Arial"/>
                <a:cs typeface="Arial"/>
              </a:rPr>
              <a:t>A technique for classification of </a:t>
            </a:r>
            <a:r>
              <a:rPr lang="en-US" sz="1400" dirty="0">
                <a:latin typeface="Arial"/>
                <a:cs typeface="Arial"/>
              </a:rPr>
              <a:t>human activities can be a useful tool </a:t>
            </a:r>
            <a:r>
              <a:rPr lang="en-US" sz="1400" dirty="0" smtClean="0">
                <a:latin typeface="Arial"/>
                <a:cs typeface="Arial"/>
              </a:rPr>
              <a:t>to not only classify and monitor our activities, but also improve overall quality of life</a:t>
            </a:r>
            <a:endParaRPr lang="en-US" sz="1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222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2239" y="115198"/>
            <a:ext cx="8420100" cy="838200"/>
          </a:xfrm>
        </p:spPr>
        <p:txBody>
          <a:bodyPr anchor="ctr"/>
          <a:lstStyle/>
          <a:p>
            <a:r>
              <a:rPr lang="en-US" dirty="0" smtClean="0"/>
              <a:t>What’s out ther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515" y="3436090"/>
            <a:ext cx="9240601" cy="2116107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sz="16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M</a:t>
            </a:r>
            <a:r>
              <a:rPr lang="en-US" sz="1600" dirty="0" smtClean="0"/>
              <a:t>ajor players 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dirty="0" smtClean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 smtClean="0"/>
              <a:t>Fitbit</a:t>
            </a:r>
            <a:r>
              <a:rPr lang="en-US" sz="1600" dirty="0" smtClean="0"/>
              <a:t>      - recently announced next generation devic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Jawbone- acquired </a:t>
            </a:r>
            <a:r>
              <a:rPr lang="en-US" sz="1600" dirty="0" err="1" smtClean="0"/>
              <a:t>bodymedia</a:t>
            </a:r>
            <a:r>
              <a:rPr lang="en-US" sz="1600" dirty="0" smtClean="0"/>
              <a:t> to complement it’s technology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Nik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Facebook- acquired Finland</a:t>
            </a:r>
            <a:r>
              <a:rPr lang="en-US" sz="1600" dirty="0"/>
              <a:t>-based fitness app maker </a:t>
            </a:r>
            <a:r>
              <a:rPr lang="en-US" sz="1600" dirty="0" err="1" smtClean="0"/>
              <a:t>Protogeo</a:t>
            </a:r>
            <a:endParaRPr lang="en-US" sz="1600" dirty="0" smtClean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Microsof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Samsung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LG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 smtClean="0"/>
              <a:t>Many more</a:t>
            </a:r>
            <a:r>
              <a:rPr lang="is-IS" sz="1600" dirty="0" smtClean="0"/>
              <a:t>….</a:t>
            </a:r>
          </a:p>
          <a:p>
            <a:pPr marL="0" indent="0">
              <a:spcBef>
                <a:spcPts val="0"/>
              </a:spcBef>
              <a:buNone/>
            </a:pPr>
            <a:endParaRPr lang="is-IS" sz="1600" dirty="0"/>
          </a:p>
          <a:p>
            <a:pPr marL="0" indent="0">
              <a:spcBef>
                <a:spcPts val="0"/>
              </a:spcBef>
              <a:buNone/>
            </a:pPr>
            <a:r>
              <a:rPr lang="is-IS" sz="1600" dirty="0" smtClean="0"/>
              <a:t>Clearly there is a need for accurately monitor A</a:t>
            </a:r>
            <a:r>
              <a:rPr lang="en-US" sz="1600" dirty="0" smtClean="0"/>
              <a:t>DL’s not just for recreation, but also for other applications. </a:t>
            </a:r>
          </a:p>
          <a:p>
            <a:endParaRPr lang="en-US" sz="1600" dirty="0" smtClean="0"/>
          </a:p>
          <a:p>
            <a:endParaRPr lang="en-US" sz="16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2111266"/>
              </p:ext>
            </p:extLst>
          </p:nvPr>
        </p:nvGraphicFramePr>
        <p:xfrm>
          <a:off x="1465257" y="1227666"/>
          <a:ext cx="7024712" cy="214883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98351"/>
                <a:gridCol w="973430"/>
                <a:gridCol w="857878"/>
                <a:gridCol w="1298351"/>
                <a:gridCol w="1298351"/>
                <a:gridCol w="1298351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eart rat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Walk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unn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leep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ADL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eart</a:t>
                      </a:r>
                      <a:r>
                        <a:rPr lang="en-US" sz="1400" baseline="0" dirty="0" smtClean="0"/>
                        <a:t> rate monitor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edometer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ho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Wearabl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20765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710597"/>
              </p:ext>
            </p:extLst>
          </p:nvPr>
        </p:nvGraphicFramePr>
        <p:xfrm>
          <a:off x="1603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3" y="160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altLang="en-US" dirty="0" smtClean="0"/>
              <a:t>ADL monitoring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28150" y="6480501"/>
            <a:ext cx="330200" cy="182880"/>
          </a:xfrm>
        </p:spPr>
        <p:txBody>
          <a:bodyPr/>
          <a:lstStyle/>
          <a:p>
            <a:fld id="{F3317C9D-F56E-40E1-B31A-59331C193E68}" type="slidenum">
              <a:rPr lang="en-US" smtClean="0">
                <a:solidFill>
                  <a:srgbClr val="807F83"/>
                </a:solidFill>
              </a:rPr>
              <a:pPr/>
              <a:t>5</a:t>
            </a:fld>
            <a:endParaRPr lang="en-US">
              <a:solidFill>
                <a:srgbClr val="807F83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204100" y="1598969"/>
            <a:ext cx="5662905" cy="2381447"/>
            <a:chOff x="819702" y="1417528"/>
            <a:chExt cx="5662905" cy="2381447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6"/>
            <a:srcRect l="8062" t="10715" b="22076"/>
            <a:stretch/>
          </p:blipFill>
          <p:spPr>
            <a:xfrm>
              <a:off x="819702" y="1417528"/>
              <a:ext cx="5662905" cy="2381447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3744517" y="2540101"/>
              <a:ext cx="2364959" cy="383205"/>
            </a:xfrm>
            <a:prstGeom prst="rect">
              <a:avLst/>
            </a:prstGeom>
            <a:noFill/>
            <a:ln w="19050">
              <a:solidFill>
                <a:srgbClr val="F4783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endParaRPr lang="en-US" dirty="0" err="1" smtClean="0"/>
            </a:p>
          </p:txBody>
        </p:sp>
      </p:grp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181423" y="4808464"/>
            <a:ext cx="9558745" cy="53258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dirty="0"/>
              <a:t>Accelerometers are </a:t>
            </a:r>
            <a:r>
              <a:rPr lang="en-US" sz="1600" dirty="0" smtClean="0"/>
              <a:t>the </a:t>
            </a:r>
            <a:r>
              <a:rPr lang="en-US" sz="1600" dirty="0"/>
              <a:t>most commonly used type of sensor for activity recognition with wearable </a:t>
            </a:r>
            <a:r>
              <a:rPr lang="en-US" sz="1600" dirty="0" smtClean="0"/>
              <a:t>sensors and other consumer electronic devices ranging from </a:t>
            </a:r>
            <a:r>
              <a:rPr lang="en-US" sz="1600" dirty="0" err="1" smtClean="0"/>
              <a:t>Iphones</a:t>
            </a:r>
            <a:r>
              <a:rPr lang="en-US" sz="1600" dirty="0" smtClean="0"/>
              <a:t> to Wii </a:t>
            </a:r>
          </a:p>
        </p:txBody>
      </p:sp>
      <p:sp>
        <p:nvSpPr>
          <p:cNvPr id="18" name="Freeform 17"/>
          <p:cNvSpPr/>
          <p:nvPr/>
        </p:nvSpPr>
        <p:spPr>
          <a:xfrm>
            <a:off x="5816887" y="1869638"/>
            <a:ext cx="3877925" cy="1958332"/>
          </a:xfrm>
          <a:custGeom>
            <a:avLst/>
            <a:gdLst>
              <a:gd name="connsiteX0" fmla="*/ 0 w 2256453"/>
              <a:gd name="connsiteY0" fmla="*/ 1169538 h 1958332"/>
              <a:gd name="connsiteX1" fmla="*/ 22678 w 2256453"/>
              <a:gd name="connsiteY1" fmla="*/ 829332 h 1958332"/>
              <a:gd name="connsiteX2" fmla="*/ 102051 w 2256453"/>
              <a:gd name="connsiteY2" fmla="*/ 1475724 h 1958332"/>
              <a:gd name="connsiteX3" fmla="*/ 90712 w 2256453"/>
              <a:gd name="connsiteY3" fmla="*/ 999435 h 1958332"/>
              <a:gd name="connsiteX4" fmla="*/ 147406 w 2256453"/>
              <a:gd name="connsiteY4" fmla="*/ 1203559 h 1958332"/>
              <a:gd name="connsiteX5" fmla="*/ 374186 w 2256453"/>
              <a:gd name="connsiteY5" fmla="*/ 1203559 h 1958332"/>
              <a:gd name="connsiteX6" fmla="*/ 464897 w 2256453"/>
              <a:gd name="connsiteY6" fmla="*/ 432424 h 1958332"/>
              <a:gd name="connsiteX7" fmla="*/ 521592 w 2256453"/>
              <a:gd name="connsiteY7" fmla="*/ 1600467 h 1958332"/>
              <a:gd name="connsiteX8" fmla="*/ 578287 w 2256453"/>
              <a:gd name="connsiteY8" fmla="*/ 897373 h 1958332"/>
              <a:gd name="connsiteX9" fmla="*/ 668999 w 2256453"/>
              <a:gd name="connsiteY9" fmla="*/ 1237580 h 1958332"/>
              <a:gd name="connsiteX10" fmla="*/ 748371 w 2256453"/>
              <a:gd name="connsiteY10" fmla="*/ 1112837 h 1958332"/>
              <a:gd name="connsiteX11" fmla="*/ 1077201 w 2256453"/>
              <a:gd name="connsiteY11" fmla="*/ 1101497 h 1958332"/>
              <a:gd name="connsiteX12" fmla="*/ 1099879 w 2256453"/>
              <a:gd name="connsiteY12" fmla="*/ 12836 h 1958332"/>
              <a:gd name="connsiteX13" fmla="*/ 1167913 w 2256453"/>
              <a:gd name="connsiteY13" fmla="*/ 1940674 h 1958332"/>
              <a:gd name="connsiteX14" fmla="*/ 1213269 w 2256453"/>
              <a:gd name="connsiteY14" fmla="*/ 976755 h 1958332"/>
              <a:gd name="connsiteX15" fmla="*/ 1281303 w 2256453"/>
              <a:gd name="connsiteY15" fmla="*/ 1101497 h 1958332"/>
              <a:gd name="connsiteX16" fmla="*/ 1440048 w 2256453"/>
              <a:gd name="connsiteY16" fmla="*/ 1124178 h 1958332"/>
              <a:gd name="connsiteX17" fmla="*/ 1474065 w 2256453"/>
              <a:gd name="connsiteY17" fmla="*/ 579847 h 1958332"/>
              <a:gd name="connsiteX18" fmla="*/ 1496743 w 2256453"/>
              <a:gd name="connsiteY18" fmla="*/ 931394 h 1958332"/>
              <a:gd name="connsiteX19" fmla="*/ 1542099 w 2256453"/>
              <a:gd name="connsiteY19" fmla="*/ 1396343 h 1958332"/>
              <a:gd name="connsiteX20" fmla="*/ 1553438 w 2256453"/>
              <a:gd name="connsiteY20" fmla="*/ 1056136 h 1958332"/>
              <a:gd name="connsiteX21" fmla="*/ 1655488 w 2256453"/>
              <a:gd name="connsiteY21" fmla="*/ 1112837 h 1958332"/>
              <a:gd name="connsiteX22" fmla="*/ 1734861 w 2256453"/>
              <a:gd name="connsiteY22" fmla="*/ 1090157 h 1958332"/>
              <a:gd name="connsiteX23" fmla="*/ 1791556 w 2256453"/>
              <a:gd name="connsiteY23" fmla="*/ 1101497 h 1958332"/>
              <a:gd name="connsiteX24" fmla="*/ 1848251 w 2256453"/>
              <a:gd name="connsiteY24" fmla="*/ 1078817 h 1958332"/>
              <a:gd name="connsiteX25" fmla="*/ 1927623 w 2256453"/>
              <a:gd name="connsiteY25" fmla="*/ 1078817 h 1958332"/>
              <a:gd name="connsiteX26" fmla="*/ 1961640 w 2256453"/>
              <a:gd name="connsiteY26" fmla="*/ 1135518 h 1958332"/>
              <a:gd name="connsiteX27" fmla="*/ 1972979 w 2256453"/>
              <a:gd name="connsiteY27" fmla="*/ 1090157 h 1958332"/>
              <a:gd name="connsiteX28" fmla="*/ 2086369 w 2256453"/>
              <a:gd name="connsiteY28" fmla="*/ 1146858 h 1958332"/>
              <a:gd name="connsiteX29" fmla="*/ 2143064 w 2256453"/>
              <a:gd name="connsiteY29" fmla="*/ 1044796 h 1958332"/>
              <a:gd name="connsiteX30" fmla="*/ 2233775 w 2256453"/>
              <a:gd name="connsiteY30" fmla="*/ 1124178 h 1958332"/>
              <a:gd name="connsiteX31" fmla="*/ 2256453 w 2256453"/>
              <a:gd name="connsiteY31" fmla="*/ 1056136 h 1958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56453" h="1958332">
                <a:moveTo>
                  <a:pt x="0" y="1169538"/>
                </a:moveTo>
                <a:cubicBezTo>
                  <a:pt x="2834" y="973919"/>
                  <a:pt x="5669" y="778301"/>
                  <a:pt x="22678" y="829332"/>
                </a:cubicBezTo>
                <a:cubicBezTo>
                  <a:pt x="39687" y="880363"/>
                  <a:pt x="90712" y="1447374"/>
                  <a:pt x="102051" y="1475724"/>
                </a:cubicBezTo>
                <a:cubicBezTo>
                  <a:pt x="113390" y="1504075"/>
                  <a:pt x="83153" y="1044796"/>
                  <a:pt x="90712" y="999435"/>
                </a:cubicBezTo>
                <a:cubicBezTo>
                  <a:pt x="98271" y="954074"/>
                  <a:pt x="100160" y="1169538"/>
                  <a:pt x="147406" y="1203559"/>
                </a:cubicBezTo>
                <a:cubicBezTo>
                  <a:pt x="194652" y="1237580"/>
                  <a:pt x="321271" y="1332082"/>
                  <a:pt x="374186" y="1203559"/>
                </a:cubicBezTo>
                <a:cubicBezTo>
                  <a:pt x="427101" y="1075036"/>
                  <a:pt x="440329" y="366273"/>
                  <a:pt x="464897" y="432424"/>
                </a:cubicBezTo>
                <a:cubicBezTo>
                  <a:pt x="489465" y="498575"/>
                  <a:pt x="502694" y="1522976"/>
                  <a:pt x="521592" y="1600467"/>
                </a:cubicBezTo>
                <a:cubicBezTo>
                  <a:pt x="540490" y="1677958"/>
                  <a:pt x="553719" y="957854"/>
                  <a:pt x="578287" y="897373"/>
                </a:cubicBezTo>
                <a:cubicBezTo>
                  <a:pt x="602855" y="836892"/>
                  <a:pt x="640652" y="1201669"/>
                  <a:pt x="668999" y="1237580"/>
                </a:cubicBezTo>
                <a:cubicBezTo>
                  <a:pt x="697346" y="1273491"/>
                  <a:pt x="680337" y="1135517"/>
                  <a:pt x="748371" y="1112837"/>
                </a:cubicBezTo>
                <a:cubicBezTo>
                  <a:pt x="816405" y="1090157"/>
                  <a:pt x="1018616" y="1284831"/>
                  <a:pt x="1077201" y="1101497"/>
                </a:cubicBezTo>
                <a:cubicBezTo>
                  <a:pt x="1135786" y="918163"/>
                  <a:pt x="1084760" y="-127027"/>
                  <a:pt x="1099879" y="12836"/>
                </a:cubicBezTo>
                <a:cubicBezTo>
                  <a:pt x="1114998" y="152699"/>
                  <a:pt x="1149015" y="1780021"/>
                  <a:pt x="1167913" y="1940674"/>
                </a:cubicBezTo>
                <a:cubicBezTo>
                  <a:pt x="1186811" y="2101327"/>
                  <a:pt x="1194371" y="1116618"/>
                  <a:pt x="1213269" y="976755"/>
                </a:cubicBezTo>
                <a:cubicBezTo>
                  <a:pt x="1232167" y="836892"/>
                  <a:pt x="1243507" y="1076927"/>
                  <a:pt x="1281303" y="1101497"/>
                </a:cubicBezTo>
                <a:cubicBezTo>
                  <a:pt x="1319099" y="1126067"/>
                  <a:pt x="1407921" y="1211120"/>
                  <a:pt x="1440048" y="1124178"/>
                </a:cubicBezTo>
                <a:cubicBezTo>
                  <a:pt x="1472175" y="1037236"/>
                  <a:pt x="1464616" y="611978"/>
                  <a:pt x="1474065" y="579847"/>
                </a:cubicBezTo>
                <a:cubicBezTo>
                  <a:pt x="1483514" y="547716"/>
                  <a:pt x="1485404" y="795311"/>
                  <a:pt x="1496743" y="931394"/>
                </a:cubicBezTo>
                <a:cubicBezTo>
                  <a:pt x="1508082" y="1067477"/>
                  <a:pt x="1532650" y="1375553"/>
                  <a:pt x="1542099" y="1396343"/>
                </a:cubicBezTo>
                <a:cubicBezTo>
                  <a:pt x="1551548" y="1417133"/>
                  <a:pt x="1534540" y="1103387"/>
                  <a:pt x="1553438" y="1056136"/>
                </a:cubicBezTo>
                <a:cubicBezTo>
                  <a:pt x="1572336" y="1008885"/>
                  <a:pt x="1625251" y="1107167"/>
                  <a:pt x="1655488" y="1112837"/>
                </a:cubicBezTo>
                <a:cubicBezTo>
                  <a:pt x="1685725" y="1118507"/>
                  <a:pt x="1712183" y="1092047"/>
                  <a:pt x="1734861" y="1090157"/>
                </a:cubicBezTo>
                <a:cubicBezTo>
                  <a:pt x="1757539" y="1088267"/>
                  <a:pt x="1772658" y="1103387"/>
                  <a:pt x="1791556" y="1101497"/>
                </a:cubicBezTo>
                <a:cubicBezTo>
                  <a:pt x="1810454" y="1099607"/>
                  <a:pt x="1825573" y="1082597"/>
                  <a:pt x="1848251" y="1078817"/>
                </a:cubicBezTo>
                <a:cubicBezTo>
                  <a:pt x="1870929" y="1075037"/>
                  <a:pt x="1908725" y="1069367"/>
                  <a:pt x="1927623" y="1078817"/>
                </a:cubicBezTo>
                <a:cubicBezTo>
                  <a:pt x="1946521" y="1088267"/>
                  <a:pt x="1954081" y="1133628"/>
                  <a:pt x="1961640" y="1135518"/>
                </a:cubicBezTo>
                <a:cubicBezTo>
                  <a:pt x="1969199" y="1137408"/>
                  <a:pt x="1952191" y="1088267"/>
                  <a:pt x="1972979" y="1090157"/>
                </a:cubicBezTo>
                <a:cubicBezTo>
                  <a:pt x="1993767" y="1092047"/>
                  <a:pt x="2058022" y="1154418"/>
                  <a:pt x="2086369" y="1146858"/>
                </a:cubicBezTo>
                <a:cubicBezTo>
                  <a:pt x="2114716" y="1139298"/>
                  <a:pt x="2118496" y="1048576"/>
                  <a:pt x="2143064" y="1044796"/>
                </a:cubicBezTo>
                <a:cubicBezTo>
                  <a:pt x="2167632" y="1041016"/>
                  <a:pt x="2214877" y="1122288"/>
                  <a:pt x="2233775" y="1124178"/>
                </a:cubicBezTo>
                <a:cubicBezTo>
                  <a:pt x="2252673" y="1126068"/>
                  <a:pt x="2256453" y="1056136"/>
                  <a:pt x="2256453" y="1056136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612786" y="3379384"/>
            <a:ext cx="805066" cy="17010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latin typeface="Arial"/>
                <a:cs typeface="Arial"/>
              </a:rPr>
              <a:t>Walkin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434185" y="3520444"/>
            <a:ext cx="805066" cy="17010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latin typeface="Arial"/>
                <a:cs typeface="Arial"/>
              </a:rPr>
              <a:t>Runn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561736" y="3865627"/>
            <a:ext cx="805066" cy="17010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latin typeface="Arial"/>
                <a:cs typeface="Arial"/>
              </a:rPr>
              <a:t>Jumpin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196718" y="3298617"/>
            <a:ext cx="805066" cy="17010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latin typeface="Arial"/>
                <a:cs typeface="Arial"/>
              </a:rPr>
              <a:t>Sweepin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950083" y="3076790"/>
            <a:ext cx="805066" cy="17010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latin typeface="Arial"/>
                <a:cs typeface="Arial"/>
              </a:rPr>
              <a:t>Sleeping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5805548" y="4286603"/>
            <a:ext cx="3900603" cy="34019"/>
          </a:xfrm>
          <a:prstGeom prst="straightConnector1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7147187" y="4369574"/>
            <a:ext cx="805066" cy="17010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latin typeface="Arial"/>
                <a:cs typeface="Arial"/>
              </a:rPr>
              <a:t>Time scale</a:t>
            </a:r>
          </a:p>
        </p:txBody>
      </p:sp>
      <p:pic>
        <p:nvPicPr>
          <p:cNvPr id="228385" name="Picture 228384"/>
          <p:cNvPicPr>
            <a:picLocks noChangeAspect="1"/>
          </p:cNvPicPr>
          <p:nvPr/>
        </p:nvPicPr>
        <p:blipFill>
          <a:blip r:embed="rId7">
            <a:alphaModFix amt="38000"/>
          </a:blip>
          <a:stretch>
            <a:fillRect/>
          </a:stretch>
        </p:blipFill>
        <p:spPr>
          <a:xfrm>
            <a:off x="6290943" y="1474225"/>
            <a:ext cx="2737089" cy="273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3730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 statemen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317C9D-F56E-40E1-B31A-59331C193E68}" type="slidenum">
              <a:rPr lang="en-US" smtClean="0">
                <a:solidFill>
                  <a:srgbClr val="807F83"/>
                </a:solidFill>
              </a:rPr>
              <a:pPr/>
              <a:t>6</a:t>
            </a:fld>
            <a:endParaRPr lang="en-US">
              <a:solidFill>
                <a:srgbClr val="807F83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9639" y="4799086"/>
            <a:ext cx="9462466" cy="1747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220" algn="just" defTabSz="912873" ea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  <a:buSzPct val="90000"/>
              <a:buFont typeface="Arial" pitchFamily="34" charset="0"/>
              <a:buChar char="•"/>
            </a:pPr>
            <a:r>
              <a:rPr lang="en-US" sz="1400" dirty="0">
                <a:latin typeface="Arial"/>
                <a:cs typeface="Arial"/>
              </a:rPr>
              <a:t>The automatic </a:t>
            </a:r>
            <a:r>
              <a:rPr lang="en-US" sz="1400" dirty="0" smtClean="0">
                <a:latin typeface="Arial"/>
                <a:cs typeface="Arial"/>
              </a:rPr>
              <a:t>recognition </a:t>
            </a:r>
            <a:r>
              <a:rPr lang="en-US" sz="1400" dirty="0">
                <a:latin typeface="Arial"/>
                <a:cs typeface="Arial"/>
              </a:rPr>
              <a:t>of a set of Activities of Daily Living, is among the most challenging research fields in Ambient Intelligence. </a:t>
            </a:r>
            <a:endParaRPr lang="en-US" sz="1400" dirty="0">
              <a:latin typeface="Arial"/>
              <a:cs typeface="Arial"/>
            </a:endParaRPr>
          </a:p>
          <a:p>
            <a:pPr marL="228220" algn="just" defTabSz="912873" ea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  <a:buSzPct val="90000"/>
              <a:buFont typeface="Arial" pitchFamily="34" charset="0"/>
              <a:buChar char="•"/>
            </a:pPr>
            <a:r>
              <a:rPr lang="en-US" sz="1400" dirty="0">
                <a:latin typeface="Arial"/>
                <a:cs typeface="Arial"/>
              </a:rPr>
              <a:t>Main challenge with wearable technology is </a:t>
            </a:r>
            <a:r>
              <a:rPr lang="en-US" sz="1400" dirty="0" smtClean="0">
                <a:latin typeface="Arial"/>
                <a:cs typeface="Arial"/>
              </a:rPr>
              <a:t>classification of </a:t>
            </a:r>
            <a:r>
              <a:rPr lang="en-US" sz="1400" dirty="0">
                <a:latin typeface="Arial"/>
                <a:cs typeface="Arial"/>
              </a:rPr>
              <a:t>use case ADL’ </a:t>
            </a:r>
          </a:p>
          <a:p>
            <a:pPr marL="684655" lvl="1" algn="just" defTabSz="912873" ea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  <a:buSzPct val="90000"/>
              <a:buFont typeface="Arial" pitchFamily="34" charset="0"/>
              <a:buChar char="•"/>
            </a:pPr>
            <a:r>
              <a:rPr lang="en-US" sz="1400" dirty="0">
                <a:latin typeface="Arial"/>
                <a:cs typeface="Arial"/>
              </a:rPr>
              <a:t>Current state of wearable can detect ADL’ such as sleeping, walking and running.</a:t>
            </a:r>
          </a:p>
          <a:p>
            <a:pPr marL="684655" lvl="1" algn="just" defTabSz="912873" ea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  <a:buSzPct val="90000"/>
              <a:buFont typeface="Arial" pitchFamily="34" charset="0"/>
              <a:buChar char="•"/>
            </a:pPr>
            <a:r>
              <a:rPr lang="en-US" sz="1400" dirty="0">
                <a:latin typeface="Arial"/>
                <a:cs typeface="Arial"/>
              </a:rPr>
              <a:t>ADI’s such as swimming, cycling etc., have to manually trigged and </a:t>
            </a:r>
            <a:r>
              <a:rPr lang="en-US" sz="1400" dirty="0" smtClean="0">
                <a:latin typeface="Arial"/>
                <a:cs typeface="Arial"/>
              </a:rPr>
              <a:t>recorded</a:t>
            </a:r>
          </a:p>
          <a:p>
            <a:pPr marL="228220" algn="just" defTabSz="912873" ea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  <a:buSzPct val="90000"/>
              <a:buFont typeface="Arial" pitchFamily="34" charset="0"/>
              <a:buChar char="•"/>
            </a:pPr>
            <a:r>
              <a:rPr lang="en-US" sz="1400" dirty="0" smtClean="0">
                <a:latin typeface="Arial"/>
                <a:cs typeface="Arial"/>
              </a:rPr>
              <a:t>The objective of the project is to develop machine learning algorithm that explores SVM and Random forest techniques to build test models and use test sets to predict ADL’.</a:t>
            </a:r>
            <a:endParaRPr lang="en-US" sz="1300" dirty="0" smtClean="0">
              <a:latin typeface="Arial"/>
              <a:cs typeface="Arial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16873" y="1111341"/>
            <a:ext cx="4096034" cy="3447429"/>
            <a:chOff x="5485389" y="1965371"/>
            <a:chExt cx="3753471" cy="435614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85389" y="1965371"/>
              <a:ext cx="3753471" cy="4356141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5572980" y="5386767"/>
              <a:ext cx="1883208" cy="799256"/>
            </a:xfrm>
            <a:prstGeom prst="rect">
              <a:avLst/>
            </a:prstGeom>
            <a:noFill/>
            <a:ln w="19050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8107" y="1067383"/>
            <a:ext cx="4467766" cy="3570768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6270445" y="2086599"/>
            <a:ext cx="1474065" cy="1304126"/>
          </a:xfrm>
          <a:prstGeom prst="ellipse">
            <a:avLst/>
          </a:prstGeom>
          <a:noFill/>
          <a:ln w="19050">
            <a:solidFill>
              <a:srgbClr val="008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/>
          </a:p>
        </p:txBody>
      </p:sp>
      <p:sp>
        <p:nvSpPr>
          <p:cNvPr id="15" name="Rectangle 14"/>
          <p:cNvSpPr/>
          <p:nvPr/>
        </p:nvSpPr>
        <p:spPr>
          <a:xfrm>
            <a:off x="260796" y="6577330"/>
            <a:ext cx="8662966" cy="257990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800" i="1" baseline="30000" dirty="0" smtClean="0">
                <a:solidFill>
                  <a:srgbClr val="102842"/>
                </a:solidFill>
                <a:latin typeface="Arial"/>
                <a:cs typeface="Arial"/>
                <a:hlinkClick r:id="rId4"/>
              </a:rPr>
              <a:t>$</a:t>
            </a:r>
            <a:r>
              <a:rPr lang="en-US" sz="800" i="1" dirty="0" smtClean="0">
                <a:solidFill>
                  <a:srgbClr val="102842"/>
                </a:solidFill>
                <a:latin typeface="Arial"/>
                <a:cs typeface="Arial"/>
                <a:hlinkClick r:id="rId4"/>
              </a:rPr>
              <a:t>Dataset </a:t>
            </a:r>
            <a:r>
              <a:rPr lang="en-US" sz="800" i="1" dirty="0">
                <a:solidFill>
                  <a:srgbClr val="102842"/>
                </a:solidFill>
                <a:latin typeface="Arial"/>
                <a:cs typeface="Arial"/>
                <a:hlinkClick r:id="rId4"/>
              </a:rPr>
              <a:t>for ADL Recognition with Wrist-worn Accelerometer </a:t>
            </a:r>
            <a:r>
              <a:rPr lang="en-US" sz="800" i="1" dirty="0" smtClean="0">
                <a:solidFill>
                  <a:prstClr val="black"/>
                </a:solidFill>
                <a:latin typeface="Arial"/>
                <a:cs typeface="Arial"/>
                <a:hlinkClick r:id="rId4"/>
              </a:rPr>
              <a:t> </a:t>
            </a:r>
            <a:endParaRPr lang="en-US" sz="800" i="1" dirty="0">
              <a:solidFill>
                <a:prstClr val="black"/>
              </a:solidFill>
              <a:latin typeface="Arial"/>
              <a:cs typeface="Arial"/>
            </a:endParaRPr>
          </a:p>
          <a:p>
            <a:pPr algn="l">
              <a:lnSpc>
                <a:spcPct val="90000"/>
              </a:lnSpc>
            </a:pPr>
            <a:endParaRPr lang="en-US" sz="800" i="1" dirty="0" err="1" smtClean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72688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/&gt;&lt;m_precDefaultPercent/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m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12&quot;&gt;&lt;elem m_fUsage=&quot;5.26978301775508040000E+000&quot;&gt;&lt;m_msothmcolidx val=&quot;0&quot;/&gt;&lt;m_rgb r=&quot;25&quot; g=&quot;1b&quot; b=&quot;89&quot;/&gt;&lt;m_ppcolschidx tagver0=&quot;23004&quot; tagname0=&quot;m_ppcolschidxUNRECOGNIZED&quot; val=&quot;0&quot;/&gt;&lt;m_nBrightness val=&quot;0&quot;/&gt;&lt;/elem&gt;&lt;elem m_fUsage=&quot;1.21366742607246250000E+000&quot;&gt;&lt;m_msothmcolidx val=&quot;0&quot;/&gt;&lt;m_rgb r=&quot;d&quot; g=&quot;76&quot; b=&quot;1&quot;/&gt;&lt;m_ppcolschidx tagver0=&quot;23004&quot; tagname0=&quot;m_ppcolschidxUNRECOGNIZED&quot; val=&quot;0&quot;/&gt;&lt;m_nBrightness val=&quot;0&quot;/&gt;&lt;/elem&gt;&lt;elem m_fUsage=&quot;7.36643200722911010000E-001&quot;&gt;&lt;m_msothmcolidx val=&quot;0&quot;/&gt;&lt;m_rgb r=&quot;f&quot; g=&quot;2&quot; b=&quot;ff&quot;/&gt;&lt;m_ppcolschidx tagver0=&quot;23004&quot; tagname0=&quot;m_ppcolschidxUNRECOGNIZED&quot; val=&quot;0&quot;/&gt;&lt;m_nBrightness val=&quot;0&quot;/&gt;&lt;/elem&gt;&lt;elem m_fUsage=&quot;7.16509919148822780000E-001&quot;&gt;&lt;m_msothmcolidx val=&quot;0&quot;/&gt;&lt;m_rgb r=&quot;1c&quot; g=&quot;fd&quot; b=&quot;2&quot;/&gt;&lt;m_ppcolschidx tagver0=&quot;23004&quot; tagname0=&quot;m_ppcolschidxUNRECOGNIZED&quot; val=&quot;0&quot;/&gt;&lt;m_nBrightness val=&quot;0&quot;/&gt;&lt;/elem&gt;&lt;elem m_fUsage=&quot;6.83602367202504340000E-001&quot;&gt;&lt;m_msothmcolidx val=&quot;0&quot;/&gt;&lt;m_rgb r=&quot;f5&quot; g=&quot;66&quot; b=&quot;10&quot;/&gt;&lt;m_ppcolschidx tagver0=&quot;23004&quot; tagname0=&quot;m_ppcolschidxUNRECOGNIZED&quot; val=&quot;0&quot;/&gt;&lt;m_nBrightness val=&quot;0&quot;/&gt;&lt;/elem&gt;&lt;elem m_fUsage=&quot;3.93981441951370750000E-001&quot;&gt;&lt;m_msothmcolidx val=&quot;0&quot;/&gt;&lt;m_rgb r=&quot;fb&quot; g=&quot;fc&quot; b=&quot;fd&quot;/&gt;&lt;m_ppcolschidx tagver0=&quot;23004&quot; tagname0=&quot;m_ppcolschidxUNRECOGNIZED&quot; val=&quot;0&quot;/&gt;&lt;m_nBrightness val=&quot;0&quot;/&gt;&lt;/elem&gt;&lt;elem m_fUsage=&quot;3.10762086798954340000E-001&quot;&gt;&lt;m_msothmcolidx val=&quot;0&quot;/&gt;&lt;m_rgb r=&quot;e6&quot; g=&quot;ec&quot; b=&quot;f2&quot;/&gt;&lt;m_ppcolschidx tagver0=&quot;23004&quot; tagname0=&quot;m_ppcolschidxUNRECOGNIZED&quot; val=&quot;0&quot;/&gt;&lt;m_nBrightness val=&quot;0&quot;/&gt;&lt;/elem&gt;&lt;elem m_fUsage=&quot;2.89532372891972590000E-001&quot;&gt;&lt;m_msothmcolidx val=&quot;0&quot;/&gt;&lt;m_rgb r=&quot;c&quot; g=&quot;27&quot; b=&quot;98&quot;/&gt;&lt;m_ppcolschidx tagver0=&quot;23004&quot; tagname0=&quot;m_ppcolschidxUNRECOGNIZED&quot; val=&quot;0&quot;/&gt;&lt;m_nBrightness val=&quot;0&quot;/&gt;&lt;/elem&gt;&lt;elem m_fUsage=&quot;2.84694561940434520000E-001&quot;&gt;&lt;m_msothmcolidx val=&quot;0&quot;/&gt;&lt;m_rgb r=&quot;f5&quot; g=&quot;eb&quot; b=&quot;6b&quot;/&gt;&lt;m_ppcolschidx tagver0=&quot;23004&quot; tagname0=&quot;m_ppcolschidxUNRECOGNIZED&quot; val=&quot;0&quot;/&gt;&lt;m_nBrightness val=&quot;0&quot;/&gt;&lt;/elem&gt;&lt;elem m_fUsage=&quot;5.21818081741467830000E-002&quot;&gt;&lt;m_msothmcolidx val=&quot;0&quot;/&gt;&lt;m_rgb r=&quot;ff&quot; g=&quot;1a&quot; b=&quot;1f&quot;/&gt;&lt;m_ppcolschidx tagver0=&quot;23004&quot; tagname0=&quot;m_ppcolschidxUNRECOGNIZED&quot; val=&quot;0&quot;/&gt;&lt;m_nBrightness val=&quot;0&quot;/&gt;&lt;/elem&gt;&lt;elem m_fUsage=&quot;4.28129991733267600000E-002&quot;&gt;&lt;m_msothmcolidx val=&quot;0&quot;/&gt;&lt;m_rgb r=&quot;fe&quot; g=&quot;a8&quot; b=&quot;7&quot;/&gt;&lt;m_ppcolschidx tagver0=&quot;23004&quot; tagname0=&quot;m_ppcolschidxUNRECOGNIZED&quot; val=&quot;0&quot;/&gt;&lt;m_nBrightness val=&quot;0&quot;/&gt;&lt;/elem&gt;&lt;elem m_fUsage=&quot;3.64405316273193030000E-003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pside MEMS revenue (new applications)">
  <a:themeElements>
    <a:clrScheme name="Breeze">
      <a:dk1>
        <a:sysClr val="windowText" lastClr="000000"/>
      </a:dk1>
      <a:lt1>
        <a:sysClr val="window" lastClr="FFFFFF"/>
      </a:lt1>
      <a:dk2>
        <a:srgbClr val="09213B"/>
      </a:dk2>
      <a:lt2>
        <a:srgbClr val="D5EDF4"/>
      </a:lt2>
      <a:accent1>
        <a:srgbClr val="2C7C9F"/>
      </a:accent1>
      <a:accent2>
        <a:srgbClr val="244A58"/>
      </a:accent2>
      <a:accent3>
        <a:srgbClr val="E2751D"/>
      </a:accent3>
      <a:accent4>
        <a:srgbClr val="FFB400"/>
      </a:accent4>
      <a:accent5>
        <a:srgbClr val="7EB606"/>
      </a:accent5>
      <a:accent6>
        <a:srgbClr val="C00000"/>
      </a:accent6>
      <a:hlink>
        <a:srgbClr val="7030A0"/>
      </a:hlink>
      <a:folHlink>
        <a:srgbClr val="00B0F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2">
              <a:lumMod val="60000"/>
              <a:lumOff val="40000"/>
            </a:schemeClr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1">
              <a:lumMod val="50000"/>
            </a:schemeClr>
          </a:solidFill>
        </a:ln>
      </a:spPr>
      <a:bodyPr wrap="square" lIns="45720" tIns="45720" rIns="45720" bIns="45720" rtlCol="0" anchor="ctr">
        <a:noAutofit/>
      </a:bodyPr>
      <a:lstStyle>
        <a:defPPr>
          <a:lnSpc>
            <a:spcPct val="90000"/>
          </a:lnSpc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A8FF7E539E9C449226F683E162A57E" ma:contentTypeVersion="0" ma:contentTypeDescription="Create a new document." ma:contentTypeScope="" ma:versionID="0f0e71197c0b62f4891cd636fcbf47d2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F39F48-8F5C-4370-88A5-0E1003EFC1CD}">
  <ds:schemaRefs>
    <ds:schemaRef ds:uri="http://schemas.microsoft.com/office/2006/metadata/properties"/>
    <ds:schemaRef ds:uri="http://purl.org/dc/terms/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DA3D934-B7B6-4EB3-AF9C-1AFE419A5D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7D92185B-AFF0-4C2F-8EE9-600EE0FBD43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ME presentation template</Template>
  <TotalTime>3362</TotalTime>
  <Words>261</Words>
  <Application>Microsoft Macintosh PowerPoint</Application>
  <PresentationFormat>A4 Paper (210x297 mm)</PresentationFormat>
  <Paragraphs>60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1_Upside MEMS revenue (new applications)</vt:lpstr>
      <vt:lpstr>think-cell Slide</vt:lpstr>
      <vt:lpstr>Recognition and prediction of Activity of daily life’s (ADL)</vt:lpstr>
      <vt:lpstr>Overview</vt:lpstr>
      <vt:lpstr>ADL- Activity of Daily life’s</vt:lpstr>
      <vt:lpstr>What’s out there?</vt:lpstr>
      <vt:lpstr>ADL monitoring</vt:lpstr>
      <vt:lpstr>Problem stateme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F-IME 3rd QBR - MEMS</dc:title>
  <dc:creator>Tang Min</dc:creator>
  <cp:lastModifiedBy>Siddharth</cp:lastModifiedBy>
  <cp:revision>610</cp:revision>
  <dcterms:created xsi:type="dcterms:W3CDTF">2014-07-20T23:58:05Z</dcterms:created>
  <dcterms:modified xsi:type="dcterms:W3CDTF">2016-03-13T17:1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A8FF7E539E9C449226F683E162A57E</vt:lpwstr>
  </property>
</Properties>
</file>